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89852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818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DEE0723B-F728-4222-8479-7E629F52F94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4" r="10417" b="42514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1 Februar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ennifer Lopez, Owen Wilson, Sarah Silverma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Kat </a:t>
            </a:r>
            <a:r>
              <a:rPr lang="en-US" dirty="0" err="1">
                <a:solidFill>
                  <a:schemeClr val="accent6"/>
                </a:solidFill>
              </a:rPr>
              <a:t>Coiro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A Case of You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Yesterda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ennifer Lopez has had a big-screen resurgence following the mammoth box office and critical success of 2019’s </a:t>
            </a:r>
            <a:r>
              <a:rPr lang="en-US" i="1" dirty="0">
                <a:solidFill>
                  <a:schemeClr val="accent6"/>
                </a:solidFill>
              </a:rPr>
              <a:t>Hustlers</a:t>
            </a:r>
            <a:r>
              <a:rPr lang="en-US" dirty="0">
                <a:solidFill>
                  <a:schemeClr val="accent6"/>
                </a:solidFill>
              </a:rPr>
              <a:t>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Women Index: 200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92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 music superstar (set to be married in front of an audience of fans) learns that her husband has been unfaithful seconds before saying ‘I do’, so marries a stranger from the crowd instead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Marry M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r>
              <a:rPr lang="en-GB" sz="1400" dirty="0">
                <a:solidFill>
                  <a:schemeClr val="accent6"/>
                </a:solidFill>
              </a:rPr>
              <a:t> unique musical love story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410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3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Marry M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Marry Me</dc:description>
  <cp:lastModifiedBy/>
  <cp:revision>1</cp:revision>
  <dcterms:created xsi:type="dcterms:W3CDTF">2019-03-25T11:13:20Z</dcterms:created>
  <dcterms:modified xsi:type="dcterms:W3CDTF">2022-01-19T16:59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Marry Me</vt:lpwstr>
  </property>
</Properties>
</file>